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0"/>
  </p:notesMasterIdLst>
  <p:sldIdLst>
    <p:sldId id="256" r:id="rId2"/>
    <p:sldId id="257" r:id="rId3"/>
    <p:sldId id="258" r:id="rId4"/>
    <p:sldId id="259" r:id="rId5"/>
    <p:sldId id="260" r:id="rId6"/>
    <p:sldId id="261" r:id="rId7"/>
    <p:sldId id="264" r:id="rId8"/>
    <p:sldId id="263" r:id="rId9"/>
    <p:sldId id="265" r:id="rId10"/>
    <p:sldId id="267" r:id="rId11"/>
    <p:sldId id="276" r:id="rId12"/>
    <p:sldId id="262" r:id="rId13"/>
    <p:sldId id="268" r:id="rId14"/>
    <p:sldId id="269" r:id="rId15"/>
    <p:sldId id="277" r:id="rId16"/>
    <p:sldId id="278" r:id="rId17"/>
    <p:sldId id="280" r:id="rId18"/>
    <p:sldId id="281" r:id="rId19"/>
    <p:sldId id="285" r:id="rId20"/>
    <p:sldId id="283" r:id="rId21"/>
    <p:sldId id="288" r:id="rId22"/>
    <p:sldId id="284" r:id="rId23"/>
    <p:sldId id="290" r:id="rId24"/>
    <p:sldId id="289" r:id="rId25"/>
    <p:sldId id="282" r:id="rId26"/>
    <p:sldId id="291" r:id="rId27"/>
    <p:sldId id="300" r:id="rId28"/>
    <p:sldId id="292" r:id="rId29"/>
    <p:sldId id="271" r:id="rId30"/>
    <p:sldId id="293" r:id="rId31"/>
    <p:sldId id="298" r:id="rId32"/>
    <p:sldId id="297" r:id="rId33"/>
    <p:sldId id="299" r:id="rId34"/>
    <p:sldId id="294" r:id="rId35"/>
    <p:sldId id="296" r:id="rId36"/>
    <p:sldId id="270" r:id="rId37"/>
    <p:sldId id="295" r:id="rId38"/>
    <p:sldId id="273" r:id="rId3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448B91"/>
    <a:srgbClr val="BAC48E"/>
    <a:srgbClr val="C2D181"/>
    <a:srgbClr val="B1789C"/>
    <a:srgbClr val="B5BD95"/>
    <a:srgbClr val="B1B69C"/>
    <a:srgbClr val="BFCC86"/>
    <a:srgbClr val="080804"/>
    <a:srgbClr val="F774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4" d="100"/>
          <a:sy n="104" d="100"/>
        </p:scale>
        <p:origin x="1008"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ideo" Target="https://www.youtube.com/embed/WU0gvPcc3jQ?feature=oembed" TargetMode="External"/><Relationship Id="rId5" Type="http://schemas.openxmlformats.org/officeDocument/2006/relationships/image" Target="../media/image30.jpeg"/><Relationship Id="rId4" Type="http://schemas.openxmlformats.org/officeDocument/2006/relationships/image" Target="../media/image15.gif"/></Relationships>
</file>

<file path=ppt/slides/_rels/slide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7468380"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7468381"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529209"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3"/>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7447475" y="6134757"/>
            <a:ext cx="3504677"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4817</TotalTime>
  <Words>1390</Words>
  <Application>Microsoft Office PowerPoint</Application>
  <PresentationFormat>Widescreen</PresentationFormat>
  <Paragraphs>296</Paragraphs>
  <Slides>38</Slides>
  <Notes>22</Notes>
  <HiddenSlides>0</HiddenSlides>
  <MMClips>2</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8</vt:i4>
      </vt:variant>
    </vt:vector>
  </HeadingPairs>
  <TitlesOfParts>
    <vt:vector size="49" baseType="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26</cp:revision>
  <dcterms:created xsi:type="dcterms:W3CDTF">2021-12-20T17:41:23Z</dcterms:created>
  <dcterms:modified xsi:type="dcterms:W3CDTF">2022-01-02T20:23:22Z</dcterms:modified>
</cp:coreProperties>
</file>